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2"/>
  </p:notesMasterIdLst>
  <p:handoutMasterIdLst>
    <p:handoutMasterId r:id="rId13"/>
  </p:handoutMasterIdLst>
  <p:sldIdLst>
    <p:sldId id="656" r:id="rId3"/>
    <p:sldId id="893" r:id="rId4"/>
    <p:sldId id="891" r:id="rId5"/>
    <p:sldId id="898" r:id="rId6"/>
    <p:sldId id="899" r:id="rId7"/>
    <p:sldId id="900" r:id="rId8"/>
    <p:sldId id="894" r:id="rId9"/>
    <p:sldId id="895" r:id="rId10"/>
    <p:sldId id="897" r:id="rId11"/>
  </p:sldIdLst>
  <p:sldSz cx="12192000" cy="6858000"/>
  <p:notesSz cx="6805613" cy="9944100"/>
  <p:custDataLst>
    <p:tags r:id="rId14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79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7355" userDrawn="1">
          <p15:clr>
            <a:srgbClr val="A4A3A4"/>
          </p15:clr>
        </p15:guide>
        <p15:guide id="6" orient="horz" pos="3203" userDrawn="1">
          <p15:clr>
            <a:srgbClr val="A4A3A4"/>
          </p15:clr>
        </p15:guide>
        <p15:guide id="7" orient="horz" pos="3748" userDrawn="1">
          <p15:clr>
            <a:srgbClr val="A4A3A4"/>
          </p15:clr>
        </p15:guide>
        <p15:guide id="8" orient="horz" pos="1525" userDrawn="1">
          <p15:clr>
            <a:srgbClr val="A4A3A4"/>
          </p15:clr>
        </p15:guide>
        <p15:guide id="9" pos="1980" userDrawn="1">
          <p15:clr>
            <a:srgbClr val="A4A3A4"/>
          </p15:clr>
        </p15:guide>
        <p15:guide id="10" orient="horz" pos="1003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3" pos="2593" userDrawn="1">
          <p15:clr>
            <a:srgbClr val="A4A3A4"/>
          </p15:clr>
        </p15:guide>
        <p15:guide id="14" orient="horz" pos="187" userDrawn="1">
          <p15:clr>
            <a:srgbClr val="A4A3A4"/>
          </p15:clr>
        </p15:guide>
        <p15:guide id="15" orient="horz" pos="150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" initials="v" lastIdx="1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3B8"/>
    <a:srgbClr val="6D86C4"/>
    <a:srgbClr val="345DAE"/>
    <a:srgbClr val="FF4747"/>
    <a:srgbClr val="2D2B8D"/>
    <a:srgbClr val="008F96"/>
    <a:srgbClr val="3D9FBD"/>
    <a:srgbClr val="CBD6F1"/>
    <a:srgbClr val="5A4888"/>
    <a:srgbClr val="2947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16" autoAdjust="0"/>
    <p:restoredTop sz="96408" autoAdjust="0"/>
  </p:normalViewPr>
  <p:slideViewPr>
    <p:cSldViewPr snapToGrid="0">
      <p:cViewPr varScale="1">
        <p:scale>
          <a:sx n="116" d="100"/>
          <a:sy n="116" d="100"/>
        </p:scale>
        <p:origin x="360" y="108"/>
      </p:cViewPr>
      <p:guideLst>
        <p:guide pos="279"/>
        <p:guide pos="3840"/>
        <p:guide pos="7355"/>
        <p:guide orient="horz" pos="3203"/>
        <p:guide orient="horz" pos="3748"/>
        <p:guide orient="horz" pos="1525"/>
        <p:guide pos="1980"/>
        <p:guide orient="horz" pos="1003"/>
        <p:guide orient="horz" pos="550"/>
        <p:guide pos="2593"/>
        <p:guide orient="horz" pos="187"/>
        <p:guide orient="horz" pos="1501"/>
      </p:guideLst>
    </p:cSldViewPr>
  </p:slideViewPr>
  <p:outlineViewPr>
    <p:cViewPr>
      <p:scale>
        <a:sx n="33" d="100"/>
        <a:sy n="33" d="100"/>
      </p:scale>
      <p:origin x="0" y="121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1817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E0B01-5135-4C2C-8993-28414D4B3686}" type="datetimeFigureOut">
              <a:rPr lang="ru-RU" smtClean="0"/>
              <a:t>05.05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374D61-2BC5-456A-87AC-0423C80EC8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6953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363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36277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36277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36192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35098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330310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71019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0408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4025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B73E46-0FBB-4229-8CBB-09B80B167E3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5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77859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3557EA-3183-4660-8887-18C9CD5B6E0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5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12879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F90D3-F678-4AA2-BC13-F0EC35626B6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5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2397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AC885-7A1B-43F1-B6BC-ED1A2B1ACC3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5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31606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E4AC57-9A0D-4DE7-838A-D5602519448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5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64586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A0E761-F77E-4A44-9560-BCDED5BAEA7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5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74868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EEF47A-FFA2-487B-BADC-239AA6539AA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5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95263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47C012-AF97-4E12-B15C-9F146888FEC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5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27103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3B024-6757-4AF0-8BCF-365FC435FEB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5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05746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8878E5-7E8C-468C-B0D8-54E5FDFA2C0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5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05241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26D4D7-FBB8-45CF-B201-8D5D147BA64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5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18049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/>
              <a:pPr/>
              <a:t>05.05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02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xmlns="" id="{336A5C21-8560-4361-BC34-8E7691E5D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20AD9F-A03A-4659-8941-6477DDD5F1F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5.05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4295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.jp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.jpg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4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07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xmlns="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95738" y="2639553"/>
            <a:ext cx="10216392" cy="789447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5400" dirty="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НОВИНКИ МАЯ 2021</a:t>
            </a:r>
            <a:endParaRPr lang="ru-RU" sz="5400" dirty="0">
              <a:solidFill>
                <a:schemeClr val="bg1"/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xmlns="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265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6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4116388" y="1611981"/>
            <a:ext cx="787041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еография. 5 класс. Рабочая тетрадь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42913" y="5417126"/>
            <a:ext cx="2952751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 </a:t>
            </a:r>
            <a:r>
              <a:rPr lang="ru-RU" b="0" dirty="0" smtClean="0">
                <a:latin typeface="+mn-lt"/>
              </a:rPr>
              <a:t>204-0118-01</a:t>
            </a:r>
          </a:p>
          <a:p>
            <a:pPr lvl="0"/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</a:t>
            </a:r>
            <a:r>
              <a:rPr lang="en-US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>
                <a:latin typeface="+mn-lt"/>
              </a:rPr>
              <a:t>6</a:t>
            </a:r>
            <a:r>
              <a:rPr lang="en-US" b="0" dirty="0">
                <a:latin typeface="+mn-lt"/>
              </a:rPr>
              <a:t>0</a:t>
            </a:r>
            <a:r>
              <a:rPr lang="ru-RU" b="0" dirty="0">
                <a:latin typeface="+mn-lt"/>
                <a:sym typeface="Wingdings 2" panose="05020102010507070707" pitchFamily="18" charset="2"/>
              </a:rPr>
              <a:t></a:t>
            </a:r>
            <a:r>
              <a:rPr lang="en-US" b="0" dirty="0">
                <a:latin typeface="+mn-lt"/>
              </a:rPr>
              <a:t>90 </a:t>
            </a:r>
            <a:r>
              <a:rPr lang="ru-RU" b="0" dirty="0">
                <a:latin typeface="+mn-lt"/>
              </a:rPr>
              <a:t>1/8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,  48 стр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.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2 краски.</a:t>
            </a:r>
            <a:endParaRPr lang="ru-RU" b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116388" y="2199617"/>
            <a:ext cx="4750170" cy="3331681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endParaRPr lang="ru-RU" sz="1400" dirty="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Задания рабочей тетради </a:t>
            </a:r>
            <a:r>
              <a:rPr lang="ru-RU" sz="1400" dirty="0" smtClean="0"/>
              <a:t>позволяют:</a:t>
            </a:r>
            <a:endParaRPr lang="ru-RU" sz="1400" dirty="0"/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закрепить основные знания и умения по курсу;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самостоятельно на практике решать разноплановые задачи, работая с учебником, картами и дополнительными источниками информации;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эффективно осуществлять самоконтроль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В рабочую тетрадь включены задания четырёх типов, отмеченных соответствующими пиктограммами: 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ru-RU" sz="1400" dirty="0" smtClean="0"/>
              <a:t>задания </a:t>
            </a:r>
            <a:r>
              <a:rPr lang="ru-RU" sz="1400" dirty="0"/>
              <a:t>на проверку знаний и умений;  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аналитические задания; 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творческие задания; 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</a:pPr>
            <a:r>
              <a:rPr lang="ru-RU" sz="1400" dirty="0"/>
              <a:t>проверка понятийного аппарата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616" y="405373"/>
            <a:ext cx="11322947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Линия </a:t>
            </a:r>
            <a:r>
              <a:rPr lang="ru-RU" dirty="0" smtClean="0"/>
              <a:t>УМК «Классическая география» (5-9</a:t>
            </a:r>
            <a:r>
              <a:rPr lang="ru-RU" dirty="0"/>
              <a:t>)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116388" y="1873591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Эртель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А.Б.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616" y="1592263"/>
            <a:ext cx="2591290" cy="351599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8"/>
          <a:srcRect l="41296" t="12299" r="26574" b="10941"/>
          <a:stretch/>
        </p:blipFill>
        <p:spPr>
          <a:xfrm>
            <a:off x="8866558" y="2382838"/>
            <a:ext cx="3208753" cy="431214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8276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51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4116388" y="1608148"/>
            <a:ext cx="4457541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История Нового времени. Контурные карты. 8 класс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6414" y="5824316"/>
            <a:ext cx="2952751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>
                <a:latin typeface="+mn-lt"/>
              </a:rPr>
              <a:t>15-1085-01</a:t>
            </a:r>
            <a:endParaRPr lang="ru-RU" b="0" dirty="0">
              <a:solidFill>
                <a:prstClr val="black"/>
              </a:solidFill>
              <a:latin typeface="+mn-lt"/>
            </a:endParaRPr>
          </a:p>
          <a:p>
            <a:pPr lvl="0"/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</a:t>
            </a:r>
            <a:r>
              <a:rPr lang="en-US" sz="1000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 smtClean="0">
                <a:latin typeface="+mn-lt"/>
              </a:rPr>
              <a:t>6</a:t>
            </a:r>
            <a:r>
              <a:rPr lang="en-US" b="0" dirty="0" smtClean="0">
                <a:latin typeface="+mn-lt"/>
              </a:rPr>
              <a:t>0</a:t>
            </a:r>
            <a:r>
              <a:rPr lang="ru-RU" b="0" dirty="0">
                <a:latin typeface="+mn-lt"/>
                <a:sym typeface="Wingdings 2" panose="05020102010507070707" pitchFamily="18" charset="2"/>
              </a:rPr>
              <a:t></a:t>
            </a:r>
            <a:r>
              <a:rPr lang="en-US" b="0" dirty="0">
                <a:latin typeface="+mn-lt"/>
              </a:rPr>
              <a:t>90 </a:t>
            </a:r>
            <a:r>
              <a:rPr lang="ru-RU" b="0" dirty="0" smtClean="0">
                <a:latin typeface="+mn-lt"/>
              </a:rPr>
              <a:t>1/8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,  16</a:t>
            </a:r>
            <a:r>
              <a:rPr lang="en-US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стр., 4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 краски.</a:t>
            </a:r>
            <a:endParaRPr lang="ru-RU" b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116388" y="2721659"/>
            <a:ext cx="6536082" cy="2000548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Цветные контурные карты выполнены в технике объёмного изображения рельефа. </a:t>
            </a:r>
            <a:endParaRPr lang="ru-RU" sz="1400" dirty="0" smtClean="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К </a:t>
            </a:r>
            <a:r>
              <a:rPr lang="ru-RU" sz="1400" dirty="0"/>
              <a:t>каждой карте предлагается система заданий разных типов и уровней сложности, ориентированных как на закрепление основных исторических знаний и формирование базовых навыков, так и на развитие аналитических и творческих способностей школьников. </a:t>
            </a:r>
            <a:endParaRPr lang="ru-RU" sz="1400" dirty="0" smtClean="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Контурные </a:t>
            </a:r>
            <a:r>
              <a:rPr lang="ru-RU" sz="1400" dirty="0"/>
              <a:t>карты могут быть использованы с любым из учебников по всеобщей истории для 8 класса, синхронизированным с курсом истории России.</a:t>
            </a:r>
            <a:endParaRPr lang="ru-RU" sz="14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7615" y="512197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Линия </a:t>
            </a:r>
            <a:r>
              <a:rPr lang="ru-RU" dirty="0" smtClean="0"/>
              <a:t>УМК</a:t>
            </a:r>
            <a:r>
              <a:rPr lang="en-US" dirty="0" smtClean="0"/>
              <a:t> </a:t>
            </a:r>
            <a:r>
              <a:rPr lang="ru-RU" dirty="0" err="1" smtClean="0"/>
              <a:t>Вигасина</a:t>
            </a:r>
            <a:r>
              <a:rPr lang="ru-RU" dirty="0" smtClean="0"/>
              <a:t> А.А. и др. Всеобщая история (</a:t>
            </a:r>
            <a:r>
              <a:rPr lang="ru-RU" dirty="0"/>
              <a:t>5-9)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116388" y="1912196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/>
            <a:r>
              <a:rPr lang="ru-RU" sz="1400" b="1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Тороп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В. В.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5" name="Рисунок 14" descr="W:\His8_KK\HisV8-KK_cover1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414" y="1683702"/>
            <a:ext cx="2860729" cy="382845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70093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3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4359445" y="1603827"/>
            <a:ext cx="4457541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Информатика. Рабочие тетради. 1,2,3,4 классы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6414" y="5547317"/>
            <a:ext cx="3511512" cy="9954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 smtClean="0">
                <a:latin typeface="+mn-lt"/>
              </a:rPr>
              <a:t>14-0518-01; </a:t>
            </a:r>
          </a:p>
          <a:p>
            <a:pPr marL="355600" lvl="0"/>
            <a:r>
              <a:rPr lang="ru-RU" b="0" dirty="0" smtClean="0">
                <a:latin typeface="+mn-lt"/>
              </a:rPr>
              <a:t>14-0520-01; </a:t>
            </a:r>
          </a:p>
          <a:p>
            <a:pPr marL="355600" lvl="0"/>
            <a:r>
              <a:rPr lang="ru-RU" b="0" dirty="0" smtClean="0">
                <a:latin typeface="+mn-lt"/>
              </a:rPr>
              <a:t>14-0522-01; </a:t>
            </a:r>
          </a:p>
          <a:p>
            <a:pPr marL="355600" lvl="0"/>
            <a:r>
              <a:rPr lang="ru-RU" b="0" dirty="0" smtClean="0">
                <a:latin typeface="+mn-lt"/>
              </a:rPr>
              <a:t>14-0524-01 </a:t>
            </a:r>
            <a:endParaRPr lang="ru-RU" b="0" dirty="0">
              <a:latin typeface="+mn-lt"/>
            </a:endParaRPr>
          </a:p>
          <a:p>
            <a:pPr lvl="0"/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</a:t>
            </a:r>
            <a:r>
              <a:rPr lang="en-US" sz="1000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 smtClean="0">
                <a:latin typeface="+mn-lt"/>
              </a:rPr>
              <a:t>70</a:t>
            </a:r>
            <a:r>
              <a:rPr lang="ru-RU" b="0" dirty="0" smtClean="0">
                <a:latin typeface="+mn-lt"/>
                <a:sym typeface="Wingdings 2" panose="05020102010507070707" pitchFamily="18" charset="2"/>
              </a:rPr>
              <a:t></a:t>
            </a:r>
            <a:r>
              <a:rPr lang="en-US" b="0" dirty="0">
                <a:latin typeface="+mn-lt"/>
              </a:rPr>
              <a:t>90 </a:t>
            </a:r>
            <a:r>
              <a:rPr lang="ru-RU" b="0" dirty="0" smtClean="0">
                <a:latin typeface="+mn-lt"/>
              </a:rPr>
              <a:t>1/16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,  128</a:t>
            </a:r>
            <a:r>
              <a:rPr lang="en-US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стр.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4 краски.</a:t>
            </a:r>
            <a:endParaRPr lang="ru-RU" b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2913" y="374957"/>
            <a:ext cx="8563521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Обновленная линия УМК «Информатика. Рудченко Т.А., Семенов А.Л. (1-4) (Перспектива)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372324" y="1929832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/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удченко Т.А., Семенов А.Л. 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465864" y="2728708"/>
            <a:ext cx="6096000" cy="206210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Новое оформление и новая структуризация материала</a:t>
            </a:r>
            <a:endParaRPr lang="ru-RU" sz="1400" dirty="0"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На титуле учебника выписаны основные компетенции и умения, которые заложены в нем заложены</a:t>
            </a:r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Добавлены задания для самопроверки</a:t>
            </a:r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Введена новая линия задач на построение столбчатой диаграммы, на работы с аналоговыми и цифровыми часами</a:t>
            </a:r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endParaRPr lang="ru-RU" sz="1400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4357" y="2248094"/>
            <a:ext cx="2290320" cy="302333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414" y="1752560"/>
            <a:ext cx="2290320" cy="302333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48402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5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1447446" y="1602383"/>
            <a:ext cx="4457541" cy="4770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19" tIns="22860" rIns="45719" bIns="22860">
            <a:spAutoFit/>
          </a:bodyPr>
          <a:lstStyle/>
          <a:p>
            <a:r>
              <a:rPr lang="ru-RU" sz="1400" b="1" dirty="0" smtClean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Новая линия задач на построение столбчатой диаграммы</a:t>
            </a:r>
            <a:endParaRPr lang="ru-RU" sz="1200" b="1" dirty="0">
              <a:solidFill>
                <a:schemeClr val="bg1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42913" y="374957"/>
            <a:ext cx="8563521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Обновленная линия УМК «Информатика. Рудченко Т.А., Семенов А.Л. (1-4) (Перспектива)</a:t>
            </a:r>
            <a:endParaRPr lang="ru-RU" dirty="0"/>
          </a:p>
        </p:txBody>
      </p:sp>
      <p:pic>
        <p:nvPicPr>
          <p:cNvPr id="13" name="Picture 4" descr="Chart&#10;&#10;Description automatically generated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7446" y="2384425"/>
            <a:ext cx="3391607" cy="3712544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6282229" y="1598379"/>
            <a:ext cx="4423646" cy="5232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ущественно расширилась линейка задач на сравнение геометрических </a:t>
            </a:r>
            <a:r>
              <a:rPr lang="ru-RU" sz="1400" b="1" dirty="0" smtClean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игур</a:t>
            </a:r>
            <a:endParaRPr lang="ru-RU" sz="1400" b="1" dirty="0">
              <a:solidFill>
                <a:schemeClr val="bg1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6" name="Picture 13" descr="Text&#10;&#10;Description automatically generated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2229" y="2355634"/>
            <a:ext cx="3776171" cy="775984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6282229" y="3979087"/>
            <a:ext cx="4636783" cy="5232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иния задач на работу с аналоговыми и цифровыми часами </a:t>
            </a:r>
          </a:p>
        </p:txBody>
      </p:sp>
      <p:pic>
        <p:nvPicPr>
          <p:cNvPr id="17" name="Picture 8" descr="Graphical user interface, application&#10;&#10;Description automatically generated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2229" y="4708959"/>
            <a:ext cx="3232150" cy="991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832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7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4359445" y="1603827"/>
            <a:ext cx="4457541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задач по физике. 7-9 классы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6414" y="5824316"/>
            <a:ext cx="2952751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</a:t>
            </a:r>
            <a:r>
              <a:rPr lang="ru-RU" b="0" dirty="0">
                <a:latin typeface="+mn-lt"/>
              </a:rPr>
              <a:t>21-0041-04 </a:t>
            </a:r>
          </a:p>
          <a:p>
            <a:pPr lvl="0"/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</a:t>
            </a:r>
            <a:r>
              <a:rPr lang="en-US" sz="1000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 smtClean="0">
                <a:latin typeface="+mn-lt"/>
              </a:rPr>
              <a:t>70</a:t>
            </a:r>
            <a:r>
              <a:rPr lang="ru-RU" b="0" dirty="0" smtClean="0">
                <a:latin typeface="+mn-lt"/>
                <a:sym typeface="Wingdings 2" panose="05020102010507070707" pitchFamily="18" charset="2"/>
              </a:rPr>
              <a:t></a:t>
            </a:r>
            <a:r>
              <a:rPr lang="en-US" b="0" dirty="0">
                <a:latin typeface="+mn-lt"/>
              </a:rPr>
              <a:t>90 </a:t>
            </a:r>
            <a:r>
              <a:rPr lang="ru-RU" b="0" dirty="0" smtClean="0">
                <a:latin typeface="+mn-lt"/>
              </a:rPr>
              <a:t>1/16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,  288</a:t>
            </a:r>
            <a:r>
              <a:rPr lang="en-US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стр., 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1 краска.</a:t>
            </a:r>
            <a:endParaRPr lang="ru-RU" b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7615" y="512197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Серия «Задачник»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372324" y="1929832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/>
            <a:r>
              <a:rPr lang="ru-RU" sz="1400" b="1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Лукашик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В.И., Иванова Е.В.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372324" y="3170558"/>
            <a:ext cx="6096000" cy="173124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Добавлен раздел «Электромагнитные явления».</a:t>
            </a:r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Порядок </a:t>
            </a:r>
            <a:r>
              <a:rPr lang="ru-RU" sz="1400" dirty="0"/>
              <a:t>тем приведён в соответствие с действующей примерной программой ООО по физике.</a:t>
            </a:r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Тексты </a:t>
            </a:r>
            <a:r>
              <a:rPr lang="ru-RU" sz="1400" dirty="0"/>
              <a:t>задач переработаны. Устаревшие термины, технические устройства и т.д. изменены на современные.</a:t>
            </a:r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Добавлены задачи в формате ОГЭ</a:t>
            </a:r>
            <a:r>
              <a:rPr lang="ru-RU" sz="1400" dirty="0" smtClean="0"/>
              <a:t>.</a:t>
            </a:r>
            <a:endParaRPr lang="ru-RU" sz="1400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414" y="1734632"/>
            <a:ext cx="2315450" cy="303005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Прямоугольник 5"/>
          <p:cNvSpPr/>
          <p:nvPr/>
        </p:nvSpPr>
        <p:spPr>
          <a:xfrm>
            <a:off x="4325048" y="2390332"/>
            <a:ext cx="53009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</a:pPr>
            <a:r>
              <a:rPr lang="ru-RU" sz="16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ереработанный классический сборник задач по физике</a:t>
            </a:r>
          </a:p>
        </p:txBody>
      </p:sp>
      <p:sp>
        <p:nvSpPr>
          <p:cNvPr id="7" name="Блок-схема: узел 6"/>
          <p:cNvSpPr/>
          <p:nvPr/>
        </p:nvSpPr>
        <p:spPr>
          <a:xfrm>
            <a:off x="9559311" y="1929832"/>
            <a:ext cx="1232514" cy="115509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</a:rPr>
              <a:t>+ 250</a:t>
            </a:r>
          </a:p>
          <a:p>
            <a:pPr algn="ctr"/>
            <a:r>
              <a:rPr lang="ru-RU" sz="1400" b="1" dirty="0">
                <a:solidFill>
                  <a:srgbClr val="FF0000"/>
                </a:solidFill>
              </a:rPr>
              <a:t>н</a:t>
            </a:r>
            <a:r>
              <a:rPr lang="ru-RU" sz="1400" b="1" dirty="0" smtClean="0">
                <a:solidFill>
                  <a:srgbClr val="FF0000"/>
                </a:solidFill>
              </a:rPr>
              <a:t>овых задач</a:t>
            </a:r>
            <a:endParaRPr lang="ru-RU" sz="1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398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5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3073" y="30342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Линия УМК: «</a:t>
            </a:r>
            <a:r>
              <a:rPr lang="ru-RU" dirty="0" smtClean="0"/>
              <a:t>Музыка» </a:t>
            </a:r>
            <a:r>
              <a:rPr lang="ru-RU" dirty="0"/>
              <a:t>(</a:t>
            </a:r>
            <a:r>
              <a:rPr lang="ru-RU" dirty="0" smtClean="0"/>
              <a:t>1‒4 </a:t>
            </a:r>
            <a:r>
              <a:rPr lang="ru-RU" dirty="0"/>
              <a:t>классы)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(</a:t>
            </a:r>
            <a:r>
              <a:rPr lang="ru-RU" dirty="0"/>
              <a:t>для обучающихся с интеллектуальными нарушениями)»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4648848" y="1906100"/>
            <a:ext cx="650606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Евтушенко И. В. , </a:t>
            </a:r>
            <a:r>
              <a:rPr lang="ru-RU" sz="1400" b="1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ернышкова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Е. В.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648848" y="2655465"/>
            <a:ext cx="6975593" cy="34701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</a:pP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Учебное пособие предназначено для детей с ограниченными возможностями здоровья и обеспечивает реализацию требований адаптированной основной общеобразовательной программы в предметной области «Искусство» в соответствии с ФГОС образования обучающихся с интеллектуальными нарушениями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</a:pP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Содержание учебника направлено на формирование устойчивого интереса к музыке и развитие музыкальных способностей обучающихся. </a:t>
            </a:r>
            <a:endParaRPr lang="ru-RU" sz="1400" dirty="0" smtClean="0"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</a:pPr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В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третьем классе дети продолжают овладевать различными видами музыкальной деятельности: </a:t>
            </a:r>
            <a:endParaRPr lang="ru-RU" sz="1400" dirty="0" smtClean="0"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742950" lvl="1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§"/>
            </a:pPr>
            <a:r>
              <a:rPr lang="ru-RU" sz="1400" dirty="0"/>
              <a:t>учатся хоровому и сольному пению, правильному интонированию и передаче ритмического рисунка; </a:t>
            </a:r>
          </a:p>
          <a:p>
            <a:pPr marL="742950" lvl="1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§"/>
            </a:pPr>
            <a:r>
              <a:rPr lang="ru-RU" sz="1400" dirty="0"/>
              <a:t>слушают и определяют характер разнообразных по содержанию музыкальных произведений; </a:t>
            </a:r>
          </a:p>
          <a:p>
            <a:pPr marL="742950" lvl="1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§"/>
            </a:pPr>
            <a:r>
              <a:rPr lang="ru-RU" sz="1400" dirty="0"/>
              <a:t>знакомятся с музыкальными инструментами и их звучанием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648848" y="1635222"/>
            <a:ext cx="7596189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узыка. 3 класс. (для обучающихся с интеллектуальными нарушениями). Учебное пособие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30952" y="5949950"/>
            <a:ext cx="2965237" cy="6261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lvl="0">
              <a:defRPr sz="1200" b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dirty="0"/>
              <a:t>Код: </a:t>
            </a:r>
            <a:r>
              <a:rPr lang="ru-RU" b="0" dirty="0" smtClean="0"/>
              <a:t>40-1622-01</a:t>
            </a:r>
          </a:p>
          <a:p>
            <a:r>
              <a:rPr lang="ru-RU" dirty="0" smtClean="0"/>
              <a:t>Параметры</a:t>
            </a:r>
            <a:r>
              <a:rPr lang="ru-RU" dirty="0"/>
              <a:t>: </a:t>
            </a:r>
            <a:r>
              <a:rPr lang="ru-RU" b="0" dirty="0"/>
              <a:t>84</a:t>
            </a:r>
            <a:r>
              <a:rPr lang="ru-RU" b="0" dirty="0">
                <a:sym typeface="Wingdings 2" panose="05020102010507070707" pitchFamily="18" charset="2"/>
              </a:rPr>
              <a:t></a:t>
            </a:r>
            <a:r>
              <a:rPr lang="ru-RU" b="0" dirty="0"/>
              <a:t>108 1/16 , </a:t>
            </a:r>
          </a:p>
          <a:p>
            <a:r>
              <a:rPr lang="ru-RU" b="0" dirty="0"/>
              <a:t>96 стр., </a:t>
            </a:r>
            <a:r>
              <a:rPr lang="ru-RU" b="0" dirty="0" smtClean="0"/>
              <a:t>4 краски</a:t>
            </a:r>
            <a:endParaRPr lang="ru-RU" b="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57" y="1678334"/>
            <a:ext cx="2714368" cy="358329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3077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57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3073" y="30342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Линия УМК: «</a:t>
            </a: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Музыка» </a:t>
            </a: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(</a:t>
            </a: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1‒4 </a:t>
            </a: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классы) </a:t>
            </a: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/>
            </a:r>
            <a:b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</a:b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(</a:t>
            </a:r>
            <a:r>
              <a:rPr kumimoji="0" lang="ru-RU" sz="32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для обучающихся с интеллектуальными нарушениями)»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4648848" y="2382838"/>
            <a:ext cx="6975593" cy="39010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</a:pPr>
            <a:r>
              <a:rPr lang="ru-RU" sz="1400" dirty="0"/>
              <a:t>Содержание пособия направлено на формирование положительной мотивации к занятиям различными видами музыкальной деятельности и готовности к практическому применению приобретённого музыкального опыта в различных социокультурных проектах. </a:t>
            </a:r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</a:pPr>
            <a:r>
              <a:rPr lang="ru-RU" sz="1400" dirty="0"/>
              <a:t>В четвёртом классе дети:</a:t>
            </a:r>
          </a:p>
          <a:p>
            <a:pPr marL="534988" lvl="0" indent="-173038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владевают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навыками самостоятельного исполнения разученных песен, как с инструментальным сопровождением, так и без него; </a:t>
            </a:r>
            <a:endParaRPr lang="ru-RU" sz="1400" dirty="0" smtClean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534988" lvl="0" indent="-173038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риобретают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умение сольного и хорового пения с соблюдением требований художественного исполнения, с учётом темпо-ритмических особенностей музыки, её динамических оттенков; </a:t>
            </a:r>
            <a:endParaRPr lang="ru-RU" sz="1400" dirty="0" smtClean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534988" lvl="0" indent="-173038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знакомятся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 различными музыкальными инструментами и их звучанием, с основными средствами музыкальной выразительности, с особенностями мелодического голосоведения; </a:t>
            </a:r>
            <a:endParaRPr lang="ru-RU" sz="1400" dirty="0" smtClean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534988" lvl="0" indent="-173038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учатся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азличать разнообразные по характеру и звучанию песни, марши, танцы, получают элементарные представления о многофункциональности музыки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648848" y="1635222"/>
            <a:ext cx="7596189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Музыка.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4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класс. (для обучающихся с интеллектуальными нарушениями). Учебное пособие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30952" y="5949950"/>
            <a:ext cx="2965237" cy="6261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lvl="0">
              <a:defRPr sz="1200" b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Код: </a:t>
            </a:r>
            <a:r>
              <a:rPr lang="ru-RU" b="0" dirty="0" smtClean="0"/>
              <a:t>40-1623-01</a:t>
            </a:r>
          </a:p>
          <a:p>
            <a:pPr lvl="0"/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Параметры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: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84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sym typeface="Wingdings 2" panose="05020102010507070707" pitchFamily="18" charset="2"/>
              </a:rPr>
              <a:t>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108 1/16 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96 стр.,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4 краск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532" y="1661893"/>
            <a:ext cx="2677717" cy="353491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sp>
        <p:nvSpPr>
          <p:cNvPr id="12" name="Прямоугольник 11"/>
          <p:cNvSpPr/>
          <p:nvPr/>
        </p:nvSpPr>
        <p:spPr>
          <a:xfrm>
            <a:off x="4648848" y="1906100"/>
            <a:ext cx="650606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Евтушенко И. В. , </a:t>
            </a:r>
            <a:r>
              <a:rPr lang="ru-RU" sz="1400" b="1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ернышкова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Е. В. </a:t>
            </a:r>
          </a:p>
        </p:txBody>
      </p:sp>
    </p:spTree>
    <p:extLst>
      <p:ext uri="{BB962C8B-B14F-4D97-AF65-F5344CB8AC3E}">
        <p14:creationId xmlns:p14="http://schemas.microsoft.com/office/powerpoint/2010/main" val="3468430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3073" y="302270"/>
            <a:ext cx="11322947" cy="6980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Линия УМК: </a:t>
            </a:r>
            <a:r>
              <a:rPr kumimoji="0" lang="ru-RU" sz="28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«Технология</a:t>
            </a:r>
            <a:r>
              <a:rPr kumimoji="0" lang="ru-RU" sz="28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. Цветоводство и декоративное </a:t>
            </a:r>
            <a:r>
              <a:rPr kumimoji="0" lang="ru-RU" sz="28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садоводство». 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(</a:t>
            </a:r>
            <a:r>
              <a:rPr kumimoji="0" lang="ru-RU" sz="2800" b="1" i="0" u="none" strike="noStrike" kern="1200" cap="none" spc="-40" normalizeH="0" baseline="0" noProof="0" dirty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для обучающихся с интеллектуальными нарушениями</a:t>
            </a:r>
            <a:r>
              <a:rPr kumimoji="0" lang="ru-RU" sz="28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Calibri"/>
              </a:rPr>
              <a:t>)</a:t>
            </a:r>
            <a:endParaRPr kumimoji="0" lang="ru-RU" sz="28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latin typeface="Calibri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42913" y="5949950"/>
            <a:ext cx="2965237" cy="6261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lvl="0">
              <a:defRPr sz="1200" b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Код: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40-1624-0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Параметры: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70*90/16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208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стр.,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4 краск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624935" y="1994443"/>
            <a:ext cx="650606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Н. М. Карман, Г. Г. </a:t>
            </a: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Зак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624936" y="2440641"/>
            <a:ext cx="7051128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Учебное пособие предназначено для детей с ограниченными возможностями здоровья и обеспечивает реализацию требований адаптированной основной общеобразовательной программы в предметной области «Технологии» в соответствии с ФГОС образования обучающихся с интеллектуальными нарушениями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ние пособия имеет практико-ориентированную направленность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 Учащиес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познакомятся с благоустройством участков с зелёными насаждениями и различными видами садовых дорожек, узнают о классификации цветковых растений и различных видах удобрений, изучат новые растения.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кабинете-мастерской учащиеся продолжат работу с комнатными растениями, познакомятся с различными видами размножения растений, научатся выращивать рассаду однолетних цветочных растений.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Знани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и навыки, полученные на занятиях по цветоводству и декоративному садоводству, пригодятся учащимся в повседневной жизни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624935" y="1517389"/>
            <a:ext cx="6506065" cy="47705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alibri"/>
                <a:ea typeface="Open Sans Light" panose="020B0306030504020204" pitchFamily="34" charset="0"/>
                <a:cs typeface="Open Sans Light" panose="020B0306030504020204" pitchFamily="34" charset="0"/>
              </a:rPr>
              <a:t>Технология. Цветоводство и декоративное садоводство. 7 класс (для обучающихся с интеллектуальными нарушениями). Учебное пособие</a:t>
            </a:r>
          </a:p>
        </p:txBody>
      </p:sp>
      <p:pic>
        <p:nvPicPr>
          <p:cNvPr id="12" name="Рисунок 11" descr="Y:\Мои файлы\Маша\Цветоводство\7 класс\TehnoCvet__7_cover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69" y="1596888"/>
            <a:ext cx="3088680" cy="370032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530732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814</TotalTime>
  <Words>916</Words>
  <Application>Microsoft Office PowerPoint</Application>
  <PresentationFormat>Широкоэкранный</PresentationFormat>
  <Paragraphs>105</Paragraphs>
  <Slides>9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9" baseType="lpstr">
      <vt:lpstr>Arial</vt:lpstr>
      <vt:lpstr>Calibri</vt:lpstr>
      <vt:lpstr>Calibri Light</vt:lpstr>
      <vt:lpstr>Open Sans</vt:lpstr>
      <vt:lpstr>Open Sans Light</vt:lpstr>
      <vt:lpstr>Wingdings</vt:lpstr>
      <vt:lpstr>Wingdings 2</vt:lpstr>
      <vt:lpstr>Тема Office</vt:lpstr>
      <vt:lpstr>5_Тема Office</vt:lpstr>
      <vt:lpstr>Слайд think-cell</vt:lpstr>
      <vt:lpstr>НОВИНКИ МАЯ 2021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User PC Vadim</cp:lastModifiedBy>
  <cp:revision>1157</cp:revision>
  <cp:lastPrinted>2021-03-09T13:01:30Z</cp:lastPrinted>
  <dcterms:created xsi:type="dcterms:W3CDTF">2018-07-24T05:59:49Z</dcterms:created>
  <dcterms:modified xsi:type="dcterms:W3CDTF">2021-05-05T05:56:19Z</dcterms:modified>
</cp:coreProperties>
</file>